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3"/>
  </p:notesMasterIdLst>
  <p:sldIdLst>
    <p:sldId id="257" r:id="rId2"/>
    <p:sldId id="258" r:id="rId18"/>
    <p:sldId id="259" r:id="rId19"/>
    <p:sldId id="260" r:id="rId20"/>
    <p:sldId id="261" r:id="rId21"/>
    <p:sldId id="262" r:id="rId22"/>
    <p:sldId id="263" r:id="rId23"/>
    <p:sldId id="264" r:id="rId24"/>
    <p:sldId id="265" r:id="rId25"/>
    <p:sldId id="266" r:id="rId26"/>
  </p:sldIdLst>
  <p:sldSz cx="18288000" cy="10287000"/>
  <p:notesSz cx="6858000" cy="9144000"/>
  <p:embeddedFontLst>
    <p:embeddedFont>
      <p:font typeface="Calibri" panose="020F0502020204030204" pitchFamily="34" charset="0"/>
      <p:regular r:id="rId4"/>
      <p:bold r:id="rId5"/>
      <p:italic r:id="rId6"/>
      <p:boldItalic r:id="rId7"/>
    </p:embeddedFont>
    <p:embeddedFont>
      <p:font typeface="Roboto Light" panose="020F0302020204030204" pitchFamily="34" charset="0"/>
      <p:regular r:id="rId8"/>
      <p:bold r:id="rId9"/>
      <p:italic r:id="rId10"/>
      <p:boldItalic r:id="rId11"/>
    </p:embeddedFont>
  </p:embeddedFontLst>
  <p:custDataLst>
    <p:tags r:id="rId1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48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DDAF70-7EA5-DB48-9B3A-37079EDC40EA}" v="5" dt="2023-09-13T12:30:16.40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81"/>
    <p:restoredTop sz="94684"/>
  </p:normalViewPr>
  <p:slideViewPr>
    <p:cSldViewPr snapToGrid="0">
      <p:cViewPr varScale="1">
        <p:scale>
          <a:sx n="67" d="100"/>
          <a:sy n="67" d="100"/>
        </p:scale>
        <p:origin x="984" y="200"/>
      </p:cViewPr>
      <p:guideLst>
        <p:guide orient="horz" pos="648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10" Type="http://schemas.openxmlformats.org/officeDocument/2006/relationships/font" Target="fonts/font7.fntdata"/><Relationship Id="rId11" Type="http://schemas.openxmlformats.org/officeDocument/2006/relationships/font" Target="fonts/font8.fntdata"/><Relationship Id="rId12" Type="http://schemas.openxmlformats.org/officeDocument/2006/relationships/tags" Target="tags/tag1.xml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7" Type="http://schemas.microsoft.com/office/2015/10/relationships/revisionInfo" Target="revisionInfo.xml"/><Relationship Id="rId18" Type="http://schemas.openxmlformats.org/officeDocument/2006/relationships/slide" Target="slides/slide2.xml"/><Relationship Id="rId19" Type="http://schemas.openxmlformats.org/officeDocument/2006/relationships/slide" Target="slides/slide3.xml"/><Relationship Id="rId2" Type="http://schemas.openxmlformats.org/officeDocument/2006/relationships/slide" Target="slides/slide1.xml"/><Relationship Id="rId20" Type="http://schemas.openxmlformats.org/officeDocument/2006/relationships/slide" Target="slides/slide4.xml"/><Relationship Id="rId21" Type="http://schemas.openxmlformats.org/officeDocument/2006/relationships/slide" Target="slides/slide5.xml"/><Relationship Id="rId22" Type="http://schemas.openxmlformats.org/officeDocument/2006/relationships/slide" Target="slides/slide6.xml"/><Relationship Id="rId23" Type="http://schemas.openxmlformats.org/officeDocument/2006/relationships/slide" Target="slides/slide7.xml"/><Relationship Id="rId24" Type="http://schemas.openxmlformats.org/officeDocument/2006/relationships/slide" Target="slides/slide8.xml"/><Relationship Id="rId25" Type="http://schemas.openxmlformats.org/officeDocument/2006/relationships/slide" Target="slides/slide9.xml"/><Relationship Id="rId26" Type="http://schemas.openxmlformats.org/officeDocument/2006/relationships/slide" Target="slides/slide10.xml"/><Relationship Id="rId3" Type="http://schemas.openxmlformats.org/officeDocument/2006/relationships/notesMaster" Target="notesMasters/notesMaster1.xml"/><Relationship Id="rId4" Type="http://schemas.openxmlformats.org/officeDocument/2006/relationships/font" Target="fonts/font1.fntdata"/><Relationship Id="rId5" Type="http://schemas.openxmlformats.org/officeDocument/2006/relationships/font" Target="fonts/font2.fntdata"/><Relationship Id="rId6" Type="http://schemas.openxmlformats.org/officeDocument/2006/relationships/font" Target="fonts/font3.fntdata"/><Relationship Id="rId7" Type="http://schemas.openxmlformats.org/officeDocument/2006/relationships/font" Target="fonts/font4.fntdata"/><Relationship Id="rId8" Type="http://schemas.openxmlformats.org/officeDocument/2006/relationships/font" Target="fonts/font5.fntdata"/><Relationship Id="rId9" Type="http://schemas.openxmlformats.org/officeDocument/2006/relationships/font" Target="fonts/font6.fntdata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1.bin"/><Relationship Id="rId4" Type="http://schemas.openxmlformats.org/officeDocument/2006/relationships/image" Target="../media/image1.emf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2.bin"/><Relationship Id="rId4" Type="http://schemas.openxmlformats.org/officeDocument/2006/relationships/image" Target="../media/image1.emf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3.bin"/><Relationship Id="rId4" Type="http://schemas.openxmlformats.org/officeDocument/2006/relationships/image" Target="../media/image1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4.bin"/><Relationship Id="rId4" Type="http://schemas.openxmlformats.org/officeDocument/2006/relationships/image" Target="../media/image1.emf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tags" Target="../tags/tag1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5.bin"/><Relationship Id="rId4" Type="http://schemas.openxmlformats.org/officeDocument/2006/relationships/image" Target="../media/image1.emf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6.bin"/><Relationship Id="rId4" Type="http://schemas.openxmlformats.org/officeDocument/2006/relationships/image" Target="../media/image1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4.bin"/><Relationship Id="rId4" Type="http://schemas.openxmlformats.org/officeDocument/2006/relationships/image" Target="../media/image1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5.bin"/><Relationship Id="rId4" Type="http://schemas.openxmlformats.org/officeDocument/2006/relationships/image" Target="../media/image1.emf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6.bin"/><Relationship Id="rId4" Type="http://schemas.openxmlformats.org/officeDocument/2006/relationships/image" Target="../media/image1.emf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7.bin"/><Relationship Id="rId4" Type="http://schemas.openxmlformats.org/officeDocument/2006/relationships/image" Target="../media/image1.emf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.emf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9.bin"/><Relationship Id="rId4" Type="http://schemas.openxmlformats.org/officeDocument/2006/relationships/image" Target="../media/image1.emf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0.bin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65912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Google Shape;18;p3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Z_FINAL_SLIDE" userDrawn="1">
  <p:cSld name="END_SLIDE">
    <p:bg>
      <p:bgPr>
        <a:solidFill>
          <a:schemeClr val="lt1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3FA9C0-522C-1ABD-D14A-7299E05376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4423718"/>
            <a:ext cx="18288000" cy="586328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US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CEABAFD-74D6-51C2-98C1-CCA5795CCD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0678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Google Shape;41;p7"/>
          <p:cNvSpPr txBox="1">
            <a:spLocks noGrp="1"/>
          </p:cNvSpPr>
          <p:nvPr>
            <p:ph type="title" hasCustomPrompt="1"/>
          </p:nvPr>
        </p:nvSpPr>
        <p:spPr>
          <a:xfrm>
            <a:off x="929400" y="1027449"/>
            <a:ext cx="13997562" cy="271046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42" name="Google Shape;42;p7"/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43500"/>
            <a:ext cx="14635650" cy="445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43" name="Google Shape;43;p7"/>
          <p:cNvSpPr>
            <a:spLocks noGrp="1"/>
          </p:cNvSpPr>
          <p:nvPr>
            <p:ph type="pic" idx="2" hasCustomPrompt="1"/>
          </p:nvPr>
        </p:nvSpPr>
        <p:spPr>
          <a:xfrm>
            <a:off x="15565050" y="1027450"/>
            <a:ext cx="180870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966960"/>
            <a:ext cx="18288000" cy="32003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" name="Google Shape;17;p3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2" name="Google Shape;17;p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1" name="Google Shape;17;p3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2277035"/>
            <a:ext cx="11320550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0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01EAD0F-8252-A92E-A4DF-B071AD590EF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0"/>
            <a:ext cx="18288000" cy="10293350"/>
          </a:xfrm>
          <a:solidFill>
            <a:schemeClr val="bg1">
              <a:lumMod val="75000"/>
              <a:alpha val="80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6119813" y="5869292"/>
            <a:ext cx="6093129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Google Shape;14;p2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_V1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Google Shape;35;p6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TEXT" userDrawn="1">
  <p:cSld name="HEADING_LEFT_CONTENT_RIGH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A552A79-B159-5259-79DF-C48F82B0D5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9154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Google Shape;25;p4"/>
          <p:cNvSpPr txBox="1"/>
          <p:nvPr/>
        </p:nvSpPr>
        <p:spPr>
          <a:xfrm>
            <a:off x="942500" y="9602000"/>
            <a:ext cx="8201400" cy="3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Roboto Light"/>
                <a:ea typeface="Roboto Light"/>
                <a:cs typeface="Roboto Light"/>
                <a:sym typeface="Roboto Light"/>
              </a:rPr>
              <a:t>Smart Slides ChatGPT Plugin</a:t>
            </a:r>
            <a:endParaRPr>
              <a:latin typeface="Roboto Light"/>
              <a:ea typeface="Roboto Light"/>
              <a:cs typeface="Roboto Light"/>
              <a:sym typeface="Roboto Light"/>
            </a:endParaRPr>
          </a:p>
        </p:txBody>
      </p:sp>
      <p:sp>
        <p:nvSpPr>
          <p:cNvPr id="26" name="Google Shape;26;p4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27" name="Google Shape;27;p4"/>
          <p:cNvSpPr txBox="1">
            <a:spLocks noGrp="1"/>
          </p:cNvSpPr>
          <p:nvPr>
            <p:ph type="body" idx="1" hasCustomPrompt="1"/>
          </p:nvPr>
        </p:nvSpPr>
        <p:spPr>
          <a:xfrm>
            <a:off x="9700325" y="2010750"/>
            <a:ext cx="5844300" cy="75912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US" dirty="0"/>
              <a:t>1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384E20F-F2E2-7BD3-CA85-528A005F520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44000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7" name="Google Shape;24;p4">
            <a:extLst>
              <a:ext uri="{FF2B5EF4-FFF2-40B4-BE49-F238E27FC236}">
                <a16:creationId xmlns:a16="http://schemas.microsoft.com/office/drawing/2014/main" id="{80117613-6917-EF6F-BF4D-A48C702D8D66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42500" y="2010750"/>
            <a:ext cx="7119600" cy="17040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US" dirty="0"/>
              <a:t>0</a:t>
            </a:r>
            <a:endParaRPr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7" Type="http://schemas.openxmlformats.org/officeDocument/2006/relationships/tags" Target="../tags/tag2.xml"/><Relationship Id="rId18" Type="http://schemas.openxmlformats.org/officeDocument/2006/relationships/oleObject" Target="../embeddings/oleObject1.bin"/><Relationship Id="rId19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8" name="Google Shape;8;p1"/>
          <p:cNvSpPr txBox="1"/>
          <p:nvPr/>
        </p:nvSpPr>
        <p:spPr>
          <a:xfrm>
            <a:off x="942500" y="9602000"/>
            <a:ext cx="8201400" cy="3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Roboto Light"/>
                <a:ea typeface="Roboto Light"/>
                <a:cs typeface="Roboto Light"/>
                <a:sym typeface="Roboto Light"/>
              </a:rPr>
              <a:t>Smart Slides ChatGPT Plugin</a:t>
            </a:r>
            <a:endParaRPr>
              <a:latin typeface="Roboto Light"/>
              <a:ea typeface="Roboto Light"/>
              <a:cs typeface="Roboto Light"/>
              <a:sym typeface="Roboto Light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49" r:id="rId2"/>
    <p:sldLayoutId id="2147483666" r:id="rId3"/>
    <p:sldLayoutId id="2147483662" r:id="rId4"/>
    <p:sldLayoutId id="2147483664" r:id="rId5"/>
    <p:sldLayoutId id="2147483650" r:id="rId6"/>
    <p:sldLayoutId id="2147483660" r:id="rId7"/>
    <p:sldLayoutId id="2147483657" r:id="rId8"/>
    <p:sldLayoutId id="2147483665" r:id="rId9"/>
    <p:sldLayoutId id="2147483658" r:id="rId10"/>
    <p:sldLayoutId id="2147483661" r:id="rId11"/>
    <p:sldLayoutId id="2147483653" r:id="rId12"/>
    <p:sldLayoutId id="2147483655" r:id="rId13"/>
    <p:sldLayoutId id="2147483659" r:id="rId14"/>
    <p:sldLayoutId id="2147483656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2.png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BF37188-FCE6-3311-5EAE-BBB2455C04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FC5B71-67AB-5D93-A1A4-B95EAE1FDC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mart Slid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FA0CB6-3056-0571-6877-5914D2B283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ke Slides in a flash</a:t>
            </a:r>
          </a:p>
        </p:txBody>
      </p:sp>
      <p:pic>
        <p:nvPicPr>
          <p:cNvPr id="6" name="Picture Placeholder 5" descr="A purple graph on a black background&#10;&#10;Description automatically generated">
            <a:extLst>
              <a:ext uri="{FF2B5EF4-FFF2-40B4-BE49-F238E27FC236}">
                <a16:creationId xmlns:a16="http://schemas.microsoft.com/office/drawing/2014/main" id="{2323F572-E851-6408-D690-6E087E728463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0" b="3960"/>
          <a:stretch/>
        </p:blipFill>
        <p:spPr/>
      </p:pic>
    </p:spTree>
    <p:extLst>
      <p:ext uri="{BB962C8B-B14F-4D97-AF65-F5344CB8AC3E}">
        <p14:creationId xmlns:p14="http://schemas.microsoft.com/office/powerpoint/2010/main" val="94643530"/>
      </p:ext>
    </p:extLst>
  </p:cSld>
  <p:clrMapOvr>
    <a:masterClrMapping/>
  </p:clrMapOvr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Custom Layou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We use a range of layouts which you can call specifically in the chat. Here is a list ['1st_Slide_FULL_LAYOUT', 'BASIC_CONTENT', 'BASIC_CONTENT_V1', 'AGENDA', 'HEADING_LEFT_CONTENT_RIGHT', 'FULLPAGE_IMAGE_QUOTE', 'HALF_IMAGE_RIGHT', 'HALF_IMAGE_LEFT', '23RD_IMAGE_RIGHT', '23RD_IMG_LEFT', 'HALF_TOP_WITH_IMAGE_RIGHT', 'END_SLIDE']</a:t>
            </a:r>
          </a:p>
          <a:p>
            <a:r>
              <a:t>Experiment with these by telling the model to use specific layouts and try it out!</a:t>
            </a:r>
          </a:p>
          <a:p>
            <a:r>
              <a:t>Example prompt: create 2 slides using HALF_IMAGE_LEFT and 23RD_IMAGE_RIGHT about cats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Introduc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Project for Taxi Co-Op to compete with existing cab aggregators.</a:t>
            </a:r>
          </a:p>
          <a:p>
            <a:r>
              <a:t>Goal: Empower users and drivers with a backend technology platform.</a:t>
            </a:r>
          </a:p>
          <a:p>
            <a:r>
              <a:t>Solution to run entirely on AWS.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Basic Requiremen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Service specific area defined by lat/long box.</a:t>
            </a:r>
          </a:p>
          <a:p>
            <a:r>
              <a:t>Register taxis with unique ID and type (Utility, Deluxe, Luxury).</a:t>
            </a:r>
          </a:p>
          <a:p>
            <a:r>
              <a:t>Register users with unique ID.</a:t>
            </a:r>
          </a:p>
          <a:p>
            <a:r>
              <a:t>Taxis transmit location periodically.</a:t>
            </a:r>
          </a:p>
          <a:p>
            <a:r>
              <a:t>Ingest and store location updates scalably.</a:t>
            </a:r>
          </a:p>
          <a:p>
            <a:r>
              <a:t>Respond to user's taxi requests based on proximity and taxi type.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System Featur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Taxi and user registration with unique IDs.</a:t>
            </a:r>
          </a:p>
          <a:p>
            <a:r>
              <a:t>Initial area boundary creation.</a:t>
            </a:r>
          </a:p>
          <a:p>
            <a:r>
              <a:t>Taxi simulator with 50 taxis.</a:t>
            </a:r>
          </a:p>
          <a:p>
            <a:r>
              <a:t>User simulator with 5 users.</a:t>
            </a:r>
          </a:p>
          <a:p>
            <a:r>
              <a:t>Scalable ingestion of taxi location and user requests.</a:t>
            </a:r>
          </a:p>
          <a:p>
            <a:r>
              <a:t>Geo-aware database (e.g., MongoDB, DocumentDB).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MongoDB Geospatial API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Supports query operations on geospatial data.</a:t>
            </a:r>
          </a:p>
          <a:p>
            <a:r>
              <a:t>Store geospatial data as GeoJSON objects or legacy coordinate pairs.</a:t>
            </a:r>
          </a:p>
          <a:p>
            <a:r>
              <a:t>GeoJSON: Specify type (e.g., 'Point') and coordinates.</a:t>
            </a:r>
          </a:p>
          <a:p>
            <a:r>
              <a:t>Geospatial indexes for efficient querying.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Advanced Featur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Extend for fulfillment: Notifications to taxis and users.</a:t>
            </a:r>
          </a:p>
          <a:p>
            <a:r>
              <a:t>API for trip start and end.</a:t>
            </a:r>
          </a:p>
          <a:p>
            <a:r>
              <a:t>Real-time visualization of supply and demand.</a:t>
            </a:r>
          </a:p>
          <a:p>
            <a:r>
              <a:t>Long-term data aggregation for insights.</a:t>
            </a:r>
          </a:p>
          <a:p>
            <a:r>
              <a:t>Plan for growth and infrastructure planning.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0" sz="quarter"/>
          </p:nvPr>
        </p:nvSpPr>
        <p:spPr>
          <a:solidFill>
            <a:srgbClr val="8500EA"/>
          </a:solidFill>
        </p:spPr>
        <p:txBody>
          <a:bodyPr/>
          <a:lstStyle/>
          <a:p/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Conclus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A comprehensive solution for Taxi Co-Op on AWS.</a:t>
            </a:r>
          </a:p>
          <a:p>
            <a:r>
              <a:t>Leverages the power of cloud and IoT for real-time operations.</a:t>
            </a:r>
          </a:p>
          <a:p>
            <a:r>
              <a:t>Scalable, efficient, and ready for future enhancements.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/>
          <a:stretch>
            <a:fillRect/>
          </a:stretch>
        </p:blipFill>
        <p:spPr/>
      </p:pic>
    </p:spTree>
  </p:cSld>
  <p:clrMapOvr>
    <a:masterClrMapping/>
  </p:clrMapOvr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Welcome to Smart Slid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Smart Slides is a presentation tool that uses AI to create beautiful presentations in seconds</a:t>
            </a:r>
          </a:p>
          <a:p>
            <a:r>
              <a:t>You can also ask the model to add more image slide layouts, add more slides, vary the layout more or even use a specific color like #F47C00 or orange.</a:t>
            </a:r>
          </a:p>
          <a:p>
            <a:r>
              <a:t>If you ever have issues just uninstall then reinstall the plugin and it should work. Or email us at contact@smart-slides.co</a:t>
            </a:r>
          </a:p>
          <a:p>
            <a:r>
              <a:t>If you don't want to include helper slides just say 'dont include help slides'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Prompt examples: Try them now!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Make me 5 slides about the swiss alps using the red color #FF5A5F with half images of mountains and lakes</a:t>
            </a:r>
          </a:p>
          <a:p>
            <a:r>
              <a:t>Make me a 5 slide tourist presentation about Norway and lofoten islands with varied layouts and images of the northern lights</a:t>
            </a:r>
          </a:p>
          <a:p>
            <a:r>
              <a:t>Create a presentation with 5 slides about Sydney with images of Bondi Beach and the Opera House</a:t>
            </a:r>
          </a:p>
          <a:p>
            <a:r>
              <a:t>Make me a presentation about the future of work with no images and basic layouts</a:t>
            </a:r>
          </a:p>
          <a:p>
            <a:r>
              <a:t>Make me a pitch deck with this color #FF5A5F about a business that lets you rent out your house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28</TotalTime>
  <Words>7</Words>
  <Application>Microsoft Macintosh PowerPoint</Application>
  <PresentationFormat>Custom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Roboto Light</vt:lpstr>
      <vt:lpstr>Calibri</vt:lpstr>
      <vt:lpstr>Smart Slides v1</vt:lpstr>
      <vt:lpstr>think-cell Slide</vt:lpstr>
      <vt:lpstr>Smart Slid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cp:lastModifiedBy>leo lukaz</cp:lastModifiedBy>
  <cp:revision>30</cp:revision>
  <dcterms:modified xsi:type="dcterms:W3CDTF">2023-09-17T09:49:04Z</dcterms:modified>
</cp:coreProperties>
</file>